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78" r:id="rId16"/>
    <p:sldId id="380" r:id="rId17"/>
    <p:sldId id="372" r:id="rId18"/>
    <p:sldId id="379" r:id="rId19"/>
    <p:sldId id="381" r:id="rId20"/>
    <p:sldId id="382" r:id="rId21"/>
    <p:sldId id="383" r:id="rId22"/>
    <p:sldId id="312" r:id="rId23"/>
  </p:sldIdLst>
  <p:sldSz cx="12192000" cy="6858000"/>
  <p:notesSz cx="6858000" cy="9144000"/>
  <p:custDataLst>
    <p:tags r:id="rId2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5033"/>
    <a:srgbClr val="430098"/>
    <a:srgbClr val="6D41AE"/>
    <a:srgbClr val="000000"/>
    <a:srgbClr val="FFD1D1"/>
    <a:srgbClr val="2A0068"/>
    <a:srgbClr val="F0EA00"/>
    <a:srgbClr val="FF6565"/>
    <a:srgbClr val="D7D8D7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92" autoAdjust="0"/>
  </p:normalViewPr>
  <p:slideViewPr>
    <p:cSldViewPr snapToGrid="0">
      <p:cViewPr varScale="1">
        <p:scale>
          <a:sx n="63" d="100"/>
          <a:sy n="63" d="100"/>
        </p:scale>
        <p:origin x="732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06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tags" Target="../tags/tag12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11" Type="http://schemas.openxmlformats.org/officeDocument/2006/relationships/image" Target="../media/image33.png"/><Relationship Id="rId5" Type="http://schemas.openxmlformats.org/officeDocument/2006/relationships/image" Target="../media/image1.emf"/><Relationship Id="rId15" Type="http://schemas.openxmlformats.org/officeDocument/2006/relationships/image" Target="../media/image37.png"/><Relationship Id="rId10" Type="http://schemas.openxmlformats.org/officeDocument/2006/relationships/image" Target="../media/image32.jpe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53B95B14-FE81-4C93-A983-7567F9FC4647}"/>
              </a:ext>
            </a:extLst>
          </p:cNvPr>
          <p:cNvSpPr/>
          <p:nvPr/>
        </p:nvSpPr>
        <p:spPr>
          <a:xfrm>
            <a:off x="817391" y="1692436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Entrainement sur training réduit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avec cross validation et optimisation des hyperparamètres</a:t>
            </a:r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3601732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6386073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9170414" y="167530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Entrainement du modèle choisi sur jeu training et jeu de test</a:t>
            </a:r>
          </a:p>
        </p:txBody>
      </p:sp>
      <p:sp>
        <p:nvSpPr>
          <p:cNvPr id="104" name="Rectangle : coins arrondis 103">
            <a:extLst>
              <a:ext uri="{FF2B5EF4-FFF2-40B4-BE49-F238E27FC236}">
                <a16:creationId xmlns:a16="http://schemas.microsoft.com/office/drawing/2014/main" id="{EAB334AA-3778-425D-9743-1DC908CCD7C3}"/>
              </a:ext>
            </a:extLst>
          </p:cNvPr>
          <p:cNvSpPr/>
          <p:nvPr/>
        </p:nvSpPr>
        <p:spPr>
          <a:xfrm>
            <a:off x="817391" y="3234332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Sélectionner l’approche pour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solutionner la problématique 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du </a:t>
            </a:r>
            <a:r>
              <a:rPr lang="fr-FR" b="1" dirty="0">
                <a:solidFill>
                  <a:schemeClr val="bg1">
                    <a:lumMod val="85000"/>
                  </a:schemeClr>
                </a:solidFill>
              </a:rPr>
              <a:t>déséquilibre entre les classes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3601732" y="3217198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6386073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9170414" y="3217199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Bilan des performances de notre meilleur modèle pour notre problème de classification</a:t>
            </a:r>
          </a:p>
        </p:txBody>
      </p:sp>
      <p:sp>
        <p:nvSpPr>
          <p:cNvPr id="108" name="Rectangle : coins arrondis 107">
            <a:extLst>
              <a:ext uri="{FF2B5EF4-FFF2-40B4-BE49-F238E27FC236}">
                <a16:creationId xmlns:a16="http://schemas.microsoft.com/office/drawing/2014/main" id="{91FFB5F0-9642-4731-8C9B-E78DC8245269}"/>
              </a:ext>
            </a:extLst>
          </p:cNvPr>
          <p:cNvSpPr/>
          <p:nvPr/>
        </p:nvSpPr>
        <p:spPr>
          <a:xfrm>
            <a:off x="817391" y="4833677"/>
            <a:ext cx="2654459" cy="14263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Pondération des observations </a:t>
            </a: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dans l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chemeClr val="bg1">
                    <a:lumMod val="85000"/>
                  </a:schemeClr>
                </a:solidFill>
              </a:rPr>
              <a:t>Choix d’une </a:t>
            </a:r>
            <a:r>
              <a:rPr lang="fr-FR" b="1" i="1" dirty="0">
                <a:solidFill>
                  <a:schemeClr val="bg1">
                    <a:lumMod val="85000"/>
                  </a:schemeClr>
                </a:solidFill>
              </a:rPr>
              <a:t>métrique de perf. adaptée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3601732" y="4816544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6386073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9170414" y="4816545"/>
            <a:ext cx="2654459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365583" y="1675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365583" y="3217200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365583" y="4816545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772873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21112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ulta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C8E639C-FDFB-4A1C-8AE0-2124E2462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028" y="1723165"/>
            <a:ext cx="3959265" cy="612000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0A936B0A-F461-4437-833C-E9EFC6B17B0C}"/>
              </a:ext>
            </a:extLst>
          </p:cNvPr>
          <p:cNvCxnSpPr/>
          <p:nvPr/>
        </p:nvCxnSpPr>
        <p:spPr>
          <a:xfrm>
            <a:off x="4851458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463E2CB8-414C-46B5-84AB-F67AB1858E75}"/>
              </a:ext>
            </a:extLst>
          </p:cNvPr>
          <p:cNvCxnSpPr/>
          <p:nvPr/>
        </p:nvCxnSpPr>
        <p:spPr>
          <a:xfrm>
            <a:off x="4900775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72240B4A-9A6A-4057-BBC0-DD5B43361817}"/>
              </a:ext>
            </a:extLst>
          </p:cNvPr>
          <p:cNvSpPr/>
          <p:nvPr/>
        </p:nvSpPr>
        <p:spPr>
          <a:xfrm>
            <a:off x="430458" y="2478841"/>
            <a:ext cx="4266273" cy="373195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à </a:t>
            </a:r>
            <a:r>
              <a:rPr lang="fr-FR" b="1" dirty="0">
                <a:solidFill>
                  <a:srgbClr val="2A0068"/>
                </a:solidFill>
              </a:rPr>
              <a:t>prédire le taux de faux négatifs </a:t>
            </a:r>
            <a:r>
              <a:rPr lang="fr-FR" dirty="0">
                <a:solidFill>
                  <a:srgbClr val="2A0068"/>
                </a:solidFill>
              </a:rPr>
              <a:t>en tout premier lieu et </a:t>
            </a:r>
            <a:r>
              <a:rPr lang="fr-FR" b="1" dirty="0">
                <a:solidFill>
                  <a:srgbClr val="2A0068"/>
                </a:solidFill>
              </a:rPr>
              <a:t>les faux positifs </a:t>
            </a:r>
            <a:r>
              <a:rPr lang="fr-FR" dirty="0">
                <a:solidFill>
                  <a:srgbClr val="2A0068"/>
                </a:solidFill>
              </a:rPr>
              <a:t>en second lieu 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On cherche donc un </a:t>
            </a:r>
            <a:r>
              <a:rPr lang="fr-FR" b="1" dirty="0">
                <a:solidFill>
                  <a:srgbClr val="2A0068"/>
                </a:solidFill>
              </a:rPr>
              <a:t>compromis entre recall et précision</a:t>
            </a:r>
            <a:r>
              <a:rPr lang="fr-FR" dirty="0">
                <a:solidFill>
                  <a:srgbClr val="2A0068"/>
                </a:solidFill>
              </a:rPr>
              <a:t>, qui </a:t>
            </a:r>
            <a:r>
              <a:rPr lang="fr-FR" b="1" dirty="0">
                <a:solidFill>
                  <a:srgbClr val="2A0068"/>
                </a:solidFill>
              </a:rPr>
              <a:t>peut se formaliser dans le score F-bêta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Il s’agit de la </a:t>
            </a:r>
            <a:r>
              <a:rPr lang="fr-FR" b="1" dirty="0">
                <a:solidFill>
                  <a:srgbClr val="2A0068"/>
                </a:solidFill>
              </a:rPr>
              <a:t>moyenne harmonique pondérée de la précision et du rappel</a:t>
            </a:r>
            <a:r>
              <a:rPr lang="fr-FR" dirty="0">
                <a:solidFill>
                  <a:srgbClr val="2A0068"/>
                </a:solidFill>
              </a:rPr>
              <a:t>, atteignant sa valeur optimale à 1 et sa pire valeur à 0</a:t>
            </a:r>
          </a:p>
          <a:p>
            <a:pPr marL="82550" indent="-825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2A0068"/>
                </a:solidFill>
              </a:rPr>
              <a:t>Le </a:t>
            </a:r>
            <a:r>
              <a:rPr lang="fr-FR" b="1" dirty="0">
                <a:solidFill>
                  <a:srgbClr val="2A0068"/>
                </a:solidFill>
              </a:rPr>
              <a:t>paramètre beta détermine le poids du rappel dans le score combiné ; p</a:t>
            </a:r>
            <a:r>
              <a:rPr lang="fr-FR" b="1" i="0" dirty="0">
                <a:solidFill>
                  <a:srgbClr val="2A0068"/>
                </a:solidFill>
                <a:effectLst/>
              </a:rPr>
              <a:t>our β≥1, on accorde plus d’importance au recall </a:t>
            </a:r>
            <a:r>
              <a:rPr lang="fr-FR" i="0" dirty="0">
                <a:solidFill>
                  <a:srgbClr val="2A0068"/>
                </a:solidFill>
                <a:effectLst/>
              </a:rPr>
              <a:t>(autrement dit aux faux négatifs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5139658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7341326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9527763" y="2854960"/>
            <a:ext cx="1982501" cy="174752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dirty="0"/>
              <a:t>Forêt Aléatoire</a:t>
            </a:r>
          </a:p>
        </p:txBody>
      </p:sp>
      <p:pic>
        <p:nvPicPr>
          <p:cNvPr id="8" name="Graphique 7" descr="Couronne avec un remplissage uni">
            <a:extLst>
              <a:ext uri="{FF2B5EF4-FFF2-40B4-BE49-F238E27FC236}">
                <a16:creationId xmlns:a16="http://schemas.microsoft.com/office/drawing/2014/main" id="{E26B4516-BA5E-4AA3-98D2-5B708A9517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61813" y="2021641"/>
            <a:ext cx="914400" cy="9144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182E59C-5CD5-41A2-83EF-D8ACB7C7A715}"/>
              </a:ext>
            </a:extLst>
          </p:cNvPr>
          <p:cNvSpPr/>
          <p:nvPr/>
        </p:nvSpPr>
        <p:spPr>
          <a:xfrm>
            <a:off x="5129498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F8D2B75-6C6A-4F58-8259-67D561D582C2}"/>
              </a:ext>
            </a:extLst>
          </p:cNvPr>
          <p:cNvSpPr/>
          <p:nvPr/>
        </p:nvSpPr>
        <p:spPr>
          <a:xfrm>
            <a:off x="7341326" y="2855032"/>
            <a:ext cx="2016000" cy="176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8955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3. Dashboard réalisé</a:t>
            </a:r>
          </a:p>
          <a:p>
            <a:r>
              <a:rPr lang="fr-FR" sz="4000" dirty="0"/>
              <a:t>	Outils utilisés</a:t>
            </a:r>
          </a:p>
          <a:p>
            <a:r>
              <a:rPr lang="fr-FR" sz="4000" dirty="0"/>
              <a:t>	Démo du dashboard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u dashboard réalisé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i="1" dirty="0">
                <a:solidFill>
                  <a:schemeClr val="tx1"/>
                </a:solidFill>
              </a:rPr>
              <a:t>Vidéo sur le dashboard à insérer ici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5">
            <a:extLst>
              <a:ext uri="{FF2B5EF4-FFF2-40B4-BE49-F238E27FC236}">
                <a16:creationId xmlns:a16="http://schemas.microsoft.com/office/drawing/2014/main" id="{EDBFD8E8-9BD9-4A8B-84C7-A6C0A9FFBE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436838" y="1153998"/>
            <a:ext cx="7884000" cy="3648999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8417278-670D-43C6-BCCB-25A3733F9B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359" y="2860148"/>
            <a:ext cx="7884000" cy="378202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3B6D415-4EA5-415F-9831-96D92E93FF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47308" y="1755295"/>
            <a:ext cx="7884000" cy="3778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836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Architecture réalisée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844" name="Picture 4" descr="Agence Expert Python pour FinTech">
            <a:extLst>
              <a:ext uri="{FF2B5EF4-FFF2-40B4-BE49-F238E27FC236}">
                <a16:creationId xmlns:a16="http://schemas.microsoft.com/office/drawing/2014/main" id="{23B4D162-3AAD-41D9-B965-21CD65A2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1921" y="4178355"/>
            <a:ext cx="964283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559369B-801C-44F6-ACD4-D74F38F8C2E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78" t="23716" r="15778" b="17421"/>
          <a:stretch/>
        </p:blipFill>
        <p:spPr>
          <a:xfrm>
            <a:off x="7583561" y="4327273"/>
            <a:ext cx="1546127" cy="720000"/>
          </a:xfrm>
          <a:prstGeom prst="rect">
            <a:avLst/>
          </a:prstGeom>
        </p:spPr>
      </p:pic>
      <p:pic>
        <p:nvPicPr>
          <p:cNvPr id="37890" name="Picture 2" descr="Heroku Apache Kafka expliqué">
            <a:extLst>
              <a:ext uri="{FF2B5EF4-FFF2-40B4-BE49-F238E27FC236}">
                <a16:creationId xmlns:a16="http://schemas.microsoft.com/office/drawing/2014/main" id="{01997F9B-214C-4484-A761-45B5A5D78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9" t="20102" r="5756" b="18784"/>
          <a:stretch/>
        </p:blipFill>
        <p:spPr bwMode="auto">
          <a:xfrm>
            <a:off x="3667880" y="1820525"/>
            <a:ext cx="2057706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E077105-4172-4363-AD97-983CE2204C0A}"/>
              </a:ext>
            </a:extLst>
          </p:cNvPr>
          <p:cNvSpPr/>
          <p:nvPr/>
        </p:nvSpPr>
        <p:spPr>
          <a:xfrm>
            <a:off x="2713902" y="2510151"/>
            <a:ext cx="3827989" cy="3028781"/>
          </a:xfrm>
          <a:prstGeom prst="rect">
            <a:avLst/>
          </a:prstGeom>
          <a:noFill/>
          <a:ln w="38100">
            <a:solidFill>
              <a:srgbClr val="4300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>
              <a:solidFill>
                <a:srgbClr val="2A0068"/>
              </a:solidFill>
            </a:endParaRPr>
          </a:p>
        </p:txBody>
      </p:sp>
      <p:pic>
        <p:nvPicPr>
          <p:cNvPr id="37894" name="Picture 6" descr="15' POUR COMPRENDRE : Git et GitHub">
            <a:extLst>
              <a:ext uri="{FF2B5EF4-FFF2-40B4-BE49-F238E27FC236}">
                <a16:creationId xmlns:a16="http://schemas.microsoft.com/office/drawing/2014/main" id="{AA0ED2A2-B935-455C-BC1F-1E3C5CD881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417" t="29094" r="10082" b="28463"/>
          <a:stretch/>
        </p:blipFill>
        <p:spPr bwMode="auto">
          <a:xfrm>
            <a:off x="7202158" y="2016289"/>
            <a:ext cx="230706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93833CD-769F-4EED-9255-94262FD7DA52}"/>
              </a:ext>
            </a:extLst>
          </p:cNvPr>
          <p:cNvSpPr/>
          <p:nvPr/>
        </p:nvSpPr>
        <p:spPr>
          <a:xfrm>
            <a:off x="2787874" y="3227610"/>
            <a:ext cx="1992888" cy="746681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Modèle ML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pic>
        <p:nvPicPr>
          <p:cNvPr id="37896" name="Picture 8" descr="Jupyter — Wikipédia">
            <a:extLst>
              <a:ext uri="{FF2B5EF4-FFF2-40B4-BE49-F238E27FC236}">
                <a16:creationId xmlns:a16="http://schemas.microsoft.com/office/drawing/2014/main" id="{7871F3C4-18B9-414F-8317-3811E973F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281" y="3606800"/>
            <a:ext cx="807515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33D0210-2317-4BBD-AD59-087978B8AD5B}"/>
              </a:ext>
            </a:extLst>
          </p:cNvPr>
          <p:cNvSpPr/>
          <p:nvPr/>
        </p:nvSpPr>
        <p:spPr>
          <a:xfrm>
            <a:off x="2787873" y="4044090"/>
            <a:ext cx="1992887" cy="1240986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Data clien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51E5D42-92D2-418D-BBB6-ECB1145D1B50}"/>
              </a:ext>
            </a:extLst>
          </p:cNvPr>
          <p:cNvSpPr/>
          <p:nvPr/>
        </p:nvSpPr>
        <p:spPr>
          <a:xfrm>
            <a:off x="5205381" y="3600949"/>
            <a:ext cx="1211116" cy="1623023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App avec api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76962C6-34BC-4A17-B727-20BC7C3BE4F1}"/>
              </a:ext>
            </a:extLst>
          </p:cNvPr>
          <p:cNvSpPr/>
          <p:nvPr/>
        </p:nvSpPr>
        <p:spPr>
          <a:xfrm>
            <a:off x="353596" y="3155712"/>
            <a:ext cx="1669217" cy="2193184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Notebook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3738B37-5118-44E0-B806-04624B6CD692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5898" y="4615475"/>
            <a:ext cx="1620000" cy="60261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A46BB3A-B508-4C01-98EF-2226F34243A9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48542" y="3452976"/>
            <a:ext cx="1532094" cy="5400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58D58D66-3749-45C7-83B9-B428E4D15930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66089"/>
          <a:stretch/>
        </p:blipFill>
        <p:spPr>
          <a:xfrm>
            <a:off x="3195314" y="4471273"/>
            <a:ext cx="1238549" cy="4320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74B93F5-C4A7-4BE5-ACDE-09BE9CA0D50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26418" y="4733695"/>
            <a:ext cx="695325" cy="38100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CB354C13-879E-447F-88B9-5B3D689ED371}"/>
              </a:ext>
            </a:extLst>
          </p:cNvPr>
          <p:cNvSpPr/>
          <p:nvPr/>
        </p:nvSpPr>
        <p:spPr>
          <a:xfrm>
            <a:off x="7345122" y="3714800"/>
            <a:ext cx="2022829" cy="1824260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2183F81-098E-4B90-B85D-02090F8DDD63}"/>
              </a:ext>
            </a:extLst>
          </p:cNvPr>
          <p:cNvSpPr/>
          <p:nvPr/>
        </p:nvSpPr>
        <p:spPr>
          <a:xfrm>
            <a:off x="10346382" y="3714672"/>
            <a:ext cx="1416459" cy="1824260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Navigateur/</a:t>
            </a:r>
          </a:p>
          <a:p>
            <a:pPr algn="ctr"/>
            <a:r>
              <a:rPr lang="fr-FR" b="1" dirty="0">
                <a:solidFill>
                  <a:srgbClr val="2A0068"/>
                </a:solidFill>
              </a:rPr>
              <a:t>page web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37741B0-F790-4E26-B1DB-DCA4BF2067CD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3A90DB"/>
              </a:clrFrom>
              <a:clrTo>
                <a:srgbClr val="3A90DB">
                  <a:alpha val="0"/>
                </a:srgbClr>
              </a:clrTo>
            </a:clrChange>
          </a:blip>
          <a:srcRect t="18169" b="27796"/>
          <a:stretch/>
        </p:blipFill>
        <p:spPr>
          <a:xfrm>
            <a:off x="7599883" y="5152512"/>
            <a:ext cx="1348398" cy="252000"/>
          </a:xfrm>
          <a:prstGeom prst="rect">
            <a:avLst/>
          </a:prstGeom>
        </p:spPr>
      </p:pic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01791530-BAC6-4A3C-B933-EE09D8ABD998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2000794" y="3600951"/>
            <a:ext cx="78708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D241CA47-1187-4041-99EC-D6444F84DD7C}"/>
              </a:ext>
            </a:extLst>
          </p:cNvPr>
          <p:cNvCxnSpPr>
            <a:cxnSpLocks/>
            <a:endCxn id="35" idx="1"/>
          </p:cNvCxnSpPr>
          <p:nvPr/>
        </p:nvCxnSpPr>
        <p:spPr>
          <a:xfrm>
            <a:off x="2018200" y="4664583"/>
            <a:ext cx="769673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2790DC1F-F06B-477A-807B-D12EB9F9BCD3}"/>
              </a:ext>
            </a:extLst>
          </p:cNvPr>
          <p:cNvCxnSpPr>
            <a:cxnSpLocks/>
            <a:stCxn id="35" idx="3"/>
          </p:cNvCxnSpPr>
          <p:nvPr/>
        </p:nvCxnSpPr>
        <p:spPr>
          <a:xfrm>
            <a:off x="4780760" y="4664583"/>
            <a:ext cx="43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452E5F60-0783-4EB2-94D2-9799E2DB3C31}"/>
              </a:ext>
            </a:extLst>
          </p:cNvPr>
          <p:cNvCxnSpPr>
            <a:cxnSpLocks/>
          </p:cNvCxnSpPr>
          <p:nvPr/>
        </p:nvCxnSpPr>
        <p:spPr>
          <a:xfrm flipH="1">
            <a:off x="4946553" y="3600950"/>
            <a:ext cx="4485" cy="107882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C6B76ABA-31AC-494C-B95D-986073614291}"/>
              </a:ext>
            </a:extLst>
          </p:cNvPr>
          <p:cNvCxnSpPr>
            <a:cxnSpLocks/>
          </p:cNvCxnSpPr>
          <p:nvPr/>
        </p:nvCxnSpPr>
        <p:spPr>
          <a:xfrm>
            <a:off x="4780760" y="3616239"/>
            <a:ext cx="180000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25D90B80-8660-4AB0-87C3-E99BAA9DC9EB}"/>
              </a:ext>
            </a:extLst>
          </p:cNvPr>
          <p:cNvCxnSpPr>
            <a:cxnSpLocks/>
          </p:cNvCxnSpPr>
          <p:nvPr/>
        </p:nvCxnSpPr>
        <p:spPr>
          <a:xfrm>
            <a:off x="6549581" y="4816983"/>
            <a:ext cx="79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>
            <a:extLst>
              <a:ext uri="{FF2B5EF4-FFF2-40B4-BE49-F238E27FC236}">
                <a16:creationId xmlns:a16="http://schemas.microsoft.com/office/drawing/2014/main" id="{AC62B3FB-DA89-4B86-91EC-505FF576D7BA}"/>
              </a:ext>
            </a:extLst>
          </p:cNvPr>
          <p:cNvCxnSpPr>
            <a:cxnSpLocks/>
          </p:cNvCxnSpPr>
          <p:nvPr/>
        </p:nvCxnSpPr>
        <p:spPr>
          <a:xfrm>
            <a:off x="9375834" y="4816983"/>
            <a:ext cx="97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avec flèche 56">
            <a:extLst>
              <a:ext uri="{FF2B5EF4-FFF2-40B4-BE49-F238E27FC236}">
                <a16:creationId xmlns:a16="http://schemas.microsoft.com/office/drawing/2014/main" id="{0A2D754E-6E83-4C49-AC72-0D5DC415B25D}"/>
              </a:ext>
            </a:extLst>
          </p:cNvPr>
          <p:cNvCxnSpPr>
            <a:cxnSpLocks/>
          </p:cNvCxnSpPr>
          <p:nvPr/>
        </p:nvCxnSpPr>
        <p:spPr>
          <a:xfrm flipH="1">
            <a:off x="9370282" y="4463303"/>
            <a:ext cx="97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avec flèche 58">
            <a:extLst>
              <a:ext uri="{FF2B5EF4-FFF2-40B4-BE49-F238E27FC236}">
                <a16:creationId xmlns:a16="http://schemas.microsoft.com/office/drawing/2014/main" id="{149393A8-74A3-4E2F-9D88-46BD5CB1881D}"/>
              </a:ext>
            </a:extLst>
          </p:cNvPr>
          <p:cNvCxnSpPr>
            <a:cxnSpLocks/>
          </p:cNvCxnSpPr>
          <p:nvPr/>
        </p:nvCxnSpPr>
        <p:spPr>
          <a:xfrm flipH="1">
            <a:off x="6539421" y="4450445"/>
            <a:ext cx="792000" cy="0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ulle narrative : rectangle à coins arrondis 24">
            <a:extLst>
              <a:ext uri="{FF2B5EF4-FFF2-40B4-BE49-F238E27FC236}">
                <a16:creationId xmlns:a16="http://schemas.microsoft.com/office/drawing/2014/main" id="{8D90A515-725F-4373-9270-91A78EA3E7AA}"/>
              </a:ext>
            </a:extLst>
          </p:cNvPr>
          <p:cNvSpPr/>
          <p:nvPr/>
        </p:nvSpPr>
        <p:spPr>
          <a:xfrm>
            <a:off x="1994269" y="4831584"/>
            <a:ext cx="1147315" cy="461048"/>
          </a:xfrm>
          <a:prstGeom prst="wedgeRoundRectCallout">
            <a:avLst>
              <a:gd name="adj1" fmla="val 11676"/>
              <a:gd name="adj2" fmla="val -75821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Excel </a:t>
            </a:r>
            <a:r>
              <a:rPr lang="fr-FR" sz="900" dirty="0">
                <a:solidFill>
                  <a:srgbClr val="C00000"/>
                </a:solidFill>
              </a:rPr>
              <a:t>avec les </a:t>
            </a:r>
            <a:r>
              <a:rPr lang="fr-FR" sz="900" b="1" dirty="0">
                <a:solidFill>
                  <a:srgbClr val="C00000"/>
                </a:solidFill>
              </a:rPr>
              <a:t>variables prédictrices </a:t>
            </a:r>
            <a:r>
              <a:rPr lang="fr-FR" sz="900" dirty="0">
                <a:solidFill>
                  <a:srgbClr val="C00000"/>
                </a:solidFill>
              </a:rPr>
              <a:t>utiles à notre modèl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7AA3F93-FA3B-4FA4-9F0F-1273F50B7294}"/>
              </a:ext>
            </a:extLst>
          </p:cNvPr>
          <p:cNvSpPr/>
          <p:nvPr/>
        </p:nvSpPr>
        <p:spPr>
          <a:xfrm>
            <a:off x="351265" y="2785553"/>
            <a:ext cx="9388636" cy="2935838"/>
          </a:xfrm>
          <a:prstGeom prst="rect">
            <a:avLst/>
          </a:prstGeom>
          <a:noFill/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3" name="Bulle narrative : rectangle à coins arrondis 62">
            <a:extLst>
              <a:ext uri="{FF2B5EF4-FFF2-40B4-BE49-F238E27FC236}">
                <a16:creationId xmlns:a16="http://schemas.microsoft.com/office/drawing/2014/main" id="{E1058163-7DD7-485A-A2D0-25E631D446FD}"/>
              </a:ext>
            </a:extLst>
          </p:cNvPr>
          <p:cNvSpPr/>
          <p:nvPr/>
        </p:nvSpPr>
        <p:spPr>
          <a:xfrm>
            <a:off x="1881639" y="2908175"/>
            <a:ext cx="1219370" cy="540000"/>
          </a:xfrm>
          <a:prstGeom prst="wedgeRoundRectCallout">
            <a:avLst>
              <a:gd name="adj1" fmla="val 19735"/>
              <a:gd name="adj2" fmla="val 67180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Modèle de ML (Random Forest) </a:t>
            </a:r>
            <a:r>
              <a:rPr lang="fr-FR" sz="900" dirty="0">
                <a:solidFill>
                  <a:srgbClr val="C00000"/>
                </a:solidFill>
              </a:rPr>
              <a:t>entrainé sur le training set (échantillon)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2B2A46B-A6EB-4D64-87A1-D23057F7221C}"/>
              </a:ext>
            </a:extLst>
          </p:cNvPr>
          <p:cNvSpPr/>
          <p:nvPr/>
        </p:nvSpPr>
        <p:spPr>
          <a:xfrm>
            <a:off x="6986426" y="1990376"/>
            <a:ext cx="2753475" cy="797281"/>
          </a:xfrm>
          <a:prstGeom prst="rect">
            <a:avLst/>
          </a:prstGeom>
          <a:noFill/>
          <a:ln w="3810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DAD45D22-8121-487C-A31A-37BE54B1687C}"/>
              </a:ext>
            </a:extLst>
          </p:cNvPr>
          <p:cNvSpPr/>
          <p:nvPr/>
        </p:nvSpPr>
        <p:spPr>
          <a:xfrm>
            <a:off x="7004820" y="2686518"/>
            <a:ext cx="2719264" cy="244474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AA82C99-B3D3-46AC-B9E6-CDB1131AB760}"/>
              </a:ext>
            </a:extLst>
          </p:cNvPr>
          <p:cNvSpPr/>
          <p:nvPr/>
        </p:nvSpPr>
        <p:spPr>
          <a:xfrm>
            <a:off x="3272419" y="1750174"/>
            <a:ext cx="2753475" cy="761028"/>
          </a:xfrm>
          <a:prstGeom prst="rect">
            <a:avLst/>
          </a:prstGeom>
          <a:noFill/>
          <a:ln w="38100">
            <a:solidFill>
              <a:srgbClr val="4300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>
              <a:solidFill>
                <a:srgbClr val="2A0068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78180D6-D480-40DB-AD9A-CB56FAF96EBF}"/>
              </a:ext>
            </a:extLst>
          </p:cNvPr>
          <p:cNvSpPr/>
          <p:nvPr/>
        </p:nvSpPr>
        <p:spPr>
          <a:xfrm>
            <a:off x="3296725" y="2396559"/>
            <a:ext cx="2709696" cy="244474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sp>
        <p:nvSpPr>
          <p:cNvPr id="68" name="Bulle narrative : rectangle à coins arrondis 67">
            <a:extLst>
              <a:ext uri="{FF2B5EF4-FFF2-40B4-BE49-F238E27FC236}">
                <a16:creationId xmlns:a16="http://schemas.microsoft.com/office/drawing/2014/main" id="{46E74D73-501E-46D8-9B4E-ECCD6F5F16FE}"/>
              </a:ext>
            </a:extLst>
          </p:cNvPr>
          <p:cNvSpPr/>
          <p:nvPr/>
        </p:nvSpPr>
        <p:spPr>
          <a:xfrm>
            <a:off x="6493730" y="5006350"/>
            <a:ext cx="1065319" cy="413262"/>
          </a:xfrm>
          <a:prstGeom prst="wedgeRoundRectCallout">
            <a:avLst>
              <a:gd name="adj1" fmla="val 21719"/>
              <a:gd name="adj2" fmla="val -80286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Dictionnaire JSON </a:t>
            </a:r>
            <a:r>
              <a:rPr lang="fr-FR" sz="900" dirty="0">
                <a:solidFill>
                  <a:srgbClr val="C00000"/>
                </a:solidFill>
              </a:rPr>
              <a:t>avec l'ID client et la prédiction associée</a:t>
            </a:r>
          </a:p>
        </p:txBody>
      </p:sp>
      <p:sp>
        <p:nvSpPr>
          <p:cNvPr id="72" name="Bulle narrative : rectangle à coins arrondis 71">
            <a:extLst>
              <a:ext uri="{FF2B5EF4-FFF2-40B4-BE49-F238E27FC236}">
                <a16:creationId xmlns:a16="http://schemas.microsoft.com/office/drawing/2014/main" id="{134E2823-B905-4B4B-9ADD-809C1858100E}"/>
              </a:ext>
            </a:extLst>
          </p:cNvPr>
          <p:cNvSpPr/>
          <p:nvPr/>
        </p:nvSpPr>
        <p:spPr>
          <a:xfrm>
            <a:off x="9449581" y="4145456"/>
            <a:ext cx="611490" cy="213696"/>
          </a:xfrm>
          <a:prstGeom prst="wedgeRoundRectCallout">
            <a:avLst>
              <a:gd name="adj1" fmla="val -39669"/>
              <a:gd name="adj2" fmla="val 75108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</a:rPr>
              <a:t>Lien https</a:t>
            </a:r>
            <a:endParaRPr lang="fr-FR" sz="900" dirty="0">
              <a:solidFill>
                <a:srgbClr val="C00000"/>
              </a:solidFill>
            </a:endParaRPr>
          </a:p>
        </p:txBody>
      </p:sp>
      <p:sp>
        <p:nvSpPr>
          <p:cNvPr id="76" name="Bulle narrative : rectangle à coins arrondis 75">
            <a:extLst>
              <a:ext uri="{FF2B5EF4-FFF2-40B4-BE49-F238E27FC236}">
                <a16:creationId xmlns:a16="http://schemas.microsoft.com/office/drawing/2014/main" id="{4AE10C5F-CE90-4452-A681-56DC53B1232A}"/>
              </a:ext>
            </a:extLst>
          </p:cNvPr>
          <p:cNvSpPr/>
          <p:nvPr/>
        </p:nvSpPr>
        <p:spPr>
          <a:xfrm>
            <a:off x="9694746" y="4945305"/>
            <a:ext cx="611490" cy="213696"/>
          </a:xfrm>
          <a:prstGeom prst="wedgeRoundRectCallout">
            <a:avLst>
              <a:gd name="adj1" fmla="val 42834"/>
              <a:gd name="adj2" fmla="val -79820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  <p:sp>
        <p:nvSpPr>
          <p:cNvPr id="77" name="Bulle narrative : rectangle à coins arrondis 76">
            <a:extLst>
              <a:ext uri="{FF2B5EF4-FFF2-40B4-BE49-F238E27FC236}">
                <a16:creationId xmlns:a16="http://schemas.microsoft.com/office/drawing/2014/main" id="{B70527B8-8BD2-475B-A88A-399E14EAB2C4}"/>
              </a:ext>
            </a:extLst>
          </p:cNvPr>
          <p:cNvSpPr/>
          <p:nvPr/>
        </p:nvSpPr>
        <p:spPr>
          <a:xfrm>
            <a:off x="6584779" y="4121807"/>
            <a:ext cx="611490" cy="213696"/>
          </a:xfrm>
          <a:prstGeom prst="wedgeRoundRectCallout">
            <a:avLst>
              <a:gd name="adj1" fmla="val -49982"/>
              <a:gd name="adj2" fmla="val 75109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  <p:sp>
        <p:nvSpPr>
          <p:cNvPr id="48" name="Flèche : double flèche horizontale 47">
            <a:extLst>
              <a:ext uri="{FF2B5EF4-FFF2-40B4-BE49-F238E27FC236}">
                <a16:creationId xmlns:a16="http://schemas.microsoft.com/office/drawing/2014/main" id="{A3A0FAC1-E281-49BF-ACE7-DCEE62DA3512}"/>
              </a:ext>
            </a:extLst>
          </p:cNvPr>
          <p:cNvSpPr/>
          <p:nvPr/>
        </p:nvSpPr>
        <p:spPr>
          <a:xfrm rot="670712">
            <a:off x="5661095" y="2170253"/>
            <a:ext cx="1573361" cy="239978"/>
          </a:xfrm>
          <a:prstGeom prst="leftRightArrow">
            <a:avLst/>
          </a:prstGeom>
          <a:solidFill>
            <a:srgbClr val="F05033"/>
          </a:solidFill>
          <a:ln>
            <a:solidFill>
              <a:srgbClr val="F05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7E8C5FB-1F78-4B28-894B-03967B6AAF71}"/>
              </a:ext>
            </a:extLst>
          </p:cNvPr>
          <p:cNvSpPr/>
          <p:nvPr/>
        </p:nvSpPr>
        <p:spPr>
          <a:xfrm>
            <a:off x="6164542" y="2157684"/>
            <a:ext cx="591207" cy="291519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endParaRPr lang="fr-FR" sz="2000" b="1" dirty="0">
              <a:solidFill>
                <a:srgbClr val="2A0068"/>
              </a:solidFill>
            </a:endParaRPr>
          </a:p>
        </p:txBody>
      </p:sp>
      <p:pic>
        <p:nvPicPr>
          <p:cNvPr id="28" name="Picture 6" descr="15' POUR COMPRENDRE : Git et GitHub">
            <a:extLst>
              <a:ext uri="{FF2B5EF4-FFF2-40B4-BE49-F238E27FC236}">
                <a16:creationId xmlns:a16="http://schemas.microsoft.com/office/drawing/2014/main" id="{7FD9E524-A9DD-4E58-8791-F9DA20504D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6" t="29094" r="59451" b="28463"/>
          <a:stretch/>
        </p:blipFill>
        <p:spPr bwMode="auto">
          <a:xfrm>
            <a:off x="6169142" y="2175134"/>
            <a:ext cx="582005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Bulle narrative : rectangle à coins arrondis 79">
            <a:extLst>
              <a:ext uri="{FF2B5EF4-FFF2-40B4-BE49-F238E27FC236}">
                <a16:creationId xmlns:a16="http://schemas.microsoft.com/office/drawing/2014/main" id="{4A84ED7F-B170-42A6-9478-5F1162B6E117}"/>
              </a:ext>
            </a:extLst>
          </p:cNvPr>
          <p:cNvSpPr/>
          <p:nvPr/>
        </p:nvSpPr>
        <p:spPr>
          <a:xfrm>
            <a:off x="6267070" y="2201772"/>
            <a:ext cx="611490" cy="213696"/>
          </a:xfrm>
          <a:prstGeom prst="wedgeRoundRectCallout">
            <a:avLst>
              <a:gd name="adj1" fmla="val -49982"/>
              <a:gd name="adj2" fmla="val 75109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900" b="1" dirty="0">
                <a:solidFill>
                  <a:srgbClr val="C00000"/>
                </a:solidFill>
                <a:highlight>
                  <a:srgbClr val="FFFF00"/>
                </a:highlight>
              </a:rPr>
              <a:t>Lien https</a:t>
            </a:r>
            <a:endParaRPr lang="fr-FR" sz="900" dirty="0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658640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xx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615454BF-057F-46C8-BA4B-D747DDF7EC55}"/>
              </a:ext>
            </a:extLst>
          </p:cNvPr>
          <p:cNvSpPr/>
          <p:nvPr/>
        </p:nvSpPr>
        <p:spPr>
          <a:xfrm>
            <a:off x="991025" y="4228681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Procfile</a:t>
            </a:r>
            <a:r>
              <a:rPr lang="fr-FR" dirty="0"/>
              <a:t> : spécifie les commandes qui sont exécutées par l’application du démarrage</a:t>
            </a:r>
          </a:p>
          <a:p>
            <a:pPr algn="ctr"/>
            <a:r>
              <a:rPr lang="fr-FR" dirty="0"/>
              <a:t>On lui passe : le process type (web), cela permet à </a:t>
            </a:r>
            <a:r>
              <a:rPr lang="fr-FR" dirty="0" err="1"/>
              <a:t>Heroku</a:t>
            </a:r>
            <a:r>
              <a:rPr lang="fr-FR" dirty="0"/>
              <a:t> de recevoir un lien HTTPS externe</a:t>
            </a:r>
          </a:p>
          <a:p>
            <a:pPr algn="ctr"/>
            <a:endParaRPr lang="fr-FR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85D374E-2FFE-4609-83C6-1078BF988C44}"/>
              </a:ext>
            </a:extLst>
          </p:cNvPr>
          <p:cNvSpPr/>
          <p:nvPr/>
        </p:nvSpPr>
        <p:spPr>
          <a:xfrm>
            <a:off x="1033287" y="2074519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App Flask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1DDDD97C-1073-4E38-B492-4172458836D6}"/>
              </a:ext>
            </a:extLst>
          </p:cNvPr>
          <p:cNvSpPr/>
          <p:nvPr/>
        </p:nvSpPr>
        <p:spPr>
          <a:xfrm>
            <a:off x="4530058" y="2378791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ashboard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790A87E-0DB0-41E8-95B1-92F989CD402A}"/>
              </a:ext>
            </a:extLst>
          </p:cNvPr>
          <p:cNvSpPr/>
          <p:nvPr/>
        </p:nvSpPr>
        <p:spPr>
          <a:xfrm>
            <a:off x="8213990" y="1677450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Requirements</a:t>
            </a:r>
            <a:endParaRPr lang="fr-FR" dirty="0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39440AD-57A9-4D98-8376-751D161FA456}"/>
              </a:ext>
            </a:extLst>
          </p:cNvPr>
          <p:cNvSpPr/>
          <p:nvPr/>
        </p:nvSpPr>
        <p:spPr>
          <a:xfrm>
            <a:off x="9902700" y="3429000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Run local api sh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B2BFC87-BFF7-4FD5-A25E-BC385255825E}"/>
              </a:ext>
            </a:extLst>
          </p:cNvPr>
          <p:cNvSpPr/>
          <p:nvPr/>
        </p:nvSpPr>
        <p:spPr>
          <a:xfrm>
            <a:off x="9902700" y="4436508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tart serveur.sh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0338B73-B72A-43A0-99CB-ACF1A9F83077}"/>
              </a:ext>
            </a:extLst>
          </p:cNvPr>
          <p:cNvSpPr/>
          <p:nvPr/>
        </p:nvSpPr>
        <p:spPr>
          <a:xfrm>
            <a:off x="5175733" y="4332793"/>
            <a:ext cx="3060822" cy="1599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wsg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01061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FF9461E-AD48-4955-8AE0-151C8DE74575}"/>
              </a:ext>
            </a:extLst>
          </p:cNvPr>
          <p:cNvSpPr/>
          <p:nvPr/>
        </p:nvSpPr>
        <p:spPr>
          <a:xfrm>
            <a:off x="464326" y="855318"/>
            <a:ext cx="5977114" cy="46310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réer un indicateur + rajouter dans le dashboard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Proba client, à partir de ça on peut se dire qu’un crédit réussi à 3% de 3000 euros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Un crédit qui </a:t>
            </a:r>
            <a:r>
              <a:rPr lang="fr-FR" dirty="0" err="1"/>
              <a:t>faile</a:t>
            </a:r>
            <a:endParaRPr lang="fr-FR" dirty="0"/>
          </a:p>
          <a:p>
            <a:pPr marL="285750" indent="-285750" algn="ctr">
              <a:buFontTx/>
              <a:buChar char="-"/>
            </a:pPr>
            <a:r>
              <a:rPr lang="fr-FR" dirty="0"/>
              <a:t>Qu’est-ce qu’il se passe si je rejette un client par erreur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Cout d’un crédit accepté qui va faire défaut, crédit non accepté qui ne va pas faire défaut</a:t>
            </a:r>
          </a:p>
          <a:p>
            <a:pPr marL="285750" indent="-285750" algn="ctr">
              <a:buFontTx/>
              <a:buChar char="-"/>
            </a:pPr>
            <a:r>
              <a:rPr lang="fr-FR" dirty="0"/>
              <a:t>Ou le mettre dans le dashboard aussi</a:t>
            </a:r>
          </a:p>
          <a:p>
            <a:pPr marL="285750" indent="-285750" algn="ctr">
              <a:buFontTx/>
              <a:buChar char="-"/>
            </a:pPr>
            <a:endParaRPr lang="fr-FR" dirty="0"/>
          </a:p>
          <a:p>
            <a:pPr marL="285750" indent="-285750" algn="ctr">
              <a:buFontTx/>
              <a:buChar char="-"/>
            </a:pPr>
            <a:r>
              <a:rPr lang="fr-FR" dirty="0"/>
              <a:t>Base du crédit et son gain marginal, à partir de ça on sait combien on va gagner/perdre (taux x crédit ce qu’on gagne, le crédit pour ce qu’on perd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1448580-324C-4F83-A752-0961C6BE2DD1}"/>
              </a:ext>
            </a:extLst>
          </p:cNvPr>
          <p:cNvSpPr/>
          <p:nvPr/>
        </p:nvSpPr>
        <p:spPr>
          <a:xfrm>
            <a:off x="7183120" y="1113459"/>
            <a:ext cx="3870960" cy="46310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16344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5720682" y="1991360"/>
            <a:ext cx="5813316" cy="4134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– </a:t>
            </a:r>
            <a:r>
              <a:rPr lang="fr-FR" dirty="0">
                <a:solidFill>
                  <a:srgbClr val="2A0068"/>
                </a:solidFill>
              </a:rPr>
              <a:t>Présentation du dashboard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(s)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TextBox 26">
            <a:extLst>
              <a:ext uri="{FF2B5EF4-FFF2-40B4-BE49-F238E27FC236}">
                <a16:creationId xmlns:a16="http://schemas.microsoft.com/office/drawing/2014/main" id="{1351EC1C-2D90-44A5-A689-54F3174F5D2C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0530EC2B-C78B-4892-A2E7-C994E9116139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ise en place du 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Traitement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colonnes problématiques par rapport à nos attent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TextBox 26">
            <a:extLst>
              <a:ext uri="{FF2B5EF4-FFF2-40B4-BE49-F238E27FC236}">
                <a16:creationId xmlns:a16="http://schemas.microsoft.com/office/drawing/2014/main" id="{29A8A82A-5F33-4900-AD80-E2EB21EE644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nos varia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credit_payment_typ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</a:t>
            </a:r>
            <a:r>
              <a:rPr lang="fr-FR" sz="1600" i="1" dirty="0" err="1">
                <a:solidFill>
                  <a:srgbClr val="2A0068"/>
                </a:solidFill>
              </a:rPr>
              <a:t>applicant_age</a:t>
            </a:r>
            <a:r>
              <a:rPr lang="fr-FR" sz="1600" i="1" dirty="0">
                <a:solidFill>
                  <a:srgbClr val="2A0068"/>
                </a:solidFill>
              </a:rPr>
              <a:t>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29" name="TextBox 26">
            <a:extLst>
              <a:ext uri="{FF2B5EF4-FFF2-40B4-BE49-F238E27FC236}">
                <a16:creationId xmlns:a16="http://schemas.microsoft.com/office/drawing/2014/main" id="{69762398-4E11-49BE-B1BF-AA6921023FD0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des individus sous-représentés </a:t>
            </a:r>
            <a:r>
              <a:rPr lang="fr-FR" sz="1800" dirty="0">
                <a:solidFill>
                  <a:srgbClr val="2A0068"/>
                </a:solidFill>
              </a:rPr>
              <a:t>(ici </a:t>
            </a:r>
            <a:r>
              <a:rPr lang="fr-FR" dirty="0">
                <a:solidFill>
                  <a:srgbClr val="2A0068"/>
                </a:solidFill>
              </a:rPr>
              <a:t>dans la </a:t>
            </a:r>
            <a:r>
              <a:rPr lang="fr-FR" sz="1800" dirty="0">
                <a:solidFill>
                  <a:srgbClr val="2A0068"/>
                </a:solidFill>
              </a:rPr>
              <a:t>classe minoritaire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oisir 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ation des observations</a:t>
            </a:r>
            <a:r>
              <a:rPr lang="fr-FR" sz="1800" dirty="0">
                <a:solidFill>
                  <a:srgbClr val="2A0068"/>
                </a:solidFill>
              </a:rPr>
              <a:t> dans le training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ation d’individus « synthétiques »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sélectionné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919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5872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327</TotalTime>
  <Words>1316</Words>
  <Application>Microsoft Office PowerPoint</Application>
  <PresentationFormat>Grand écran</PresentationFormat>
  <Paragraphs>248</Paragraphs>
  <Slides>19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9</vt:i4>
      </vt:variant>
    </vt:vector>
  </HeadingPairs>
  <TitlesOfParts>
    <vt:vector size="26" baseType="lpstr">
      <vt:lpstr>Arial</vt:lpstr>
      <vt:lpstr>Baloo</vt:lpstr>
      <vt:lpstr>Calibri</vt:lpstr>
      <vt:lpstr>Calibri Light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16</cp:revision>
  <dcterms:created xsi:type="dcterms:W3CDTF">2021-01-14T09:36:12Z</dcterms:created>
  <dcterms:modified xsi:type="dcterms:W3CDTF">2022-04-06T16:53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